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9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D$2:$D$276</c:f>
              <c:numCache>
                <c:formatCode>#,##0</c:formatCode>
                <c:ptCount val="27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09</c:v>
                </c:pt>
                <c:pt idx="260">
                  <c:v>101</c:v>
                </c:pt>
                <c:pt idx="261">
                  <c:v>92</c:v>
                </c:pt>
                <c:pt idx="262">
                  <c:v>76</c:v>
                </c:pt>
                <c:pt idx="263">
                  <c:v>71</c:v>
                </c:pt>
                <c:pt idx="264">
                  <c:v>68</c:v>
                </c:pt>
                <c:pt idx="265">
                  <c:v>66</c:v>
                </c:pt>
                <c:pt idx="266">
                  <c:v>62</c:v>
                </c:pt>
                <c:pt idx="267">
                  <c:v>63</c:v>
                </c:pt>
                <c:pt idx="268">
                  <c:v>57</c:v>
                </c:pt>
                <c:pt idx="269">
                  <c:v>53</c:v>
                </c:pt>
                <c:pt idx="270">
                  <c:v>42</c:v>
                </c:pt>
                <c:pt idx="271">
                  <c:v>41</c:v>
                </c:pt>
                <c:pt idx="272">
                  <c:v>44</c:v>
                </c:pt>
                <c:pt idx="273">
                  <c:v>41</c:v>
                </c:pt>
                <c:pt idx="27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B$2:$B$276</c:f>
              <c:numCache>
                <c:formatCode>#,##0</c:formatCode>
                <c:ptCount val="27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</c:v>
                </c:pt>
                <c:pt idx="206">
                  <c:v>325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  <c:pt idx="272">
                  <c:v>684</c:v>
                </c:pt>
                <c:pt idx="273">
                  <c:v>689</c:v>
                </c:pt>
                <c:pt idx="274">
                  <c:v>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C$2:$C$276</c:f>
              <c:numCache>
                <c:formatCode>#,##0</c:formatCode>
                <c:ptCount val="2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D$2:$D$276</c:f>
              <c:numCache>
                <c:formatCode>#,##0</c:formatCode>
                <c:ptCount val="27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90</c:v>
                </c:pt>
                <c:pt idx="70">
                  <c:v>3195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7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3</c:v>
                </c:pt>
                <c:pt idx="225">
                  <c:v>2102</c:v>
                </c:pt>
                <c:pt idx="226">
                  <c:v>1925</c:v>
                </c:pt>
                <c:pt idx="227">
                  <c:v>1778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2</c:v>
                </c:pt>
                <c:pt idx="241">
                  <c:v>1125</c:v>
                </c:pt>
                <c:pt idx="242">
                  <c:v>1129</c:v>
                </c:pt>
                <c:pt idx="243">
                  <c:v>1121</c:v>
                </c:pt>
                <c:pt idx="244">
                  <c:v>1116</c:v>
                </c:pt>
                <c:pt idx="245">
                  <c:v>1051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3</c:v>
                </c:pt>
                <c:pt idx="251">
                  <c:v>774</c:v>
                </c:pt>
                <c:pt idx="252">
                  <c:v>725</c:v>
                </c:pt>
                <c:pt idx="253">
                  <c:v>654</c:v>
                </c:pt>
                <c:pt idx="254">
                  <c:v>634</c:v>
                </c:pt>
                <c:pt idx="255">
                  <c:v>613</c:v>
                </c:pt>
                <c:pt idx="256">
                  <c:v>551</c:v>
                </c:pt>
                <c:pt idx="257">
                  <c:v>548</c:v>
                </c:pt>
                <c:pt idx="258">
                  <c:v>521</c:v>
                </c:pt>
                <c:pt idx="259">
                  <c:v>469</c:v>
                </c:pt>
                <c:pt idx="260">
                  <c:v>432</c:v>
                </c:pt>
                <c:pt idx="261">
                  <c:v>404</c:v>
                </c:pt>
                <c:pt idx="262">
                  <c:v>393</c:v>
                </c:pt>
                <c:pt idx="263">
                  <c:v>375</c:v>
                </c:pt>
                <c:pt idx="264">
                  <c:v>363</c:v>
                </c:pt>
                <c:pt idx="265">
                  <c:v>321</c:v>
                </c:pt>
                <c:pt idx="266">
                  <c:v>309</c:v>
                </c:pt>
                <c:pt idx="267">
                  <c:v>293</c:v>
                </c:pt>
                <c:pt idx="268">
                  <c:v>264</c:v>
                </c:pt>
                <c:pt idx="269">
                  <c:v>237</c:v>
                </c:pt>
                <c:pt idx="270">
                  <c:v>200</c:v>
                </c:pt>
                <c:pt idx="271">
                  <c:v>196</c:v>
                </c:pt>
                <c:pt idx="272">
                  <c:v>181</c:v>
                </c:pt>
                <c:pt idx="273">
                  <c:v>161</c:v>
                </c:pt>
                <c:pt idx="274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B$2:$B$276</c:f>
              <c:numCache>
                <c:formatCode>#,##0</c:formatCode>
                <c:ptCount val="27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454</c:v>
                </c:pt>
                <c:pt idx="206">
                  <c:v>4946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  <c:pt idx="272">
                  <c:v>6501</c:v>
                </c:pt>
                <c:pt idx="273">
                  <c:v>6337</c:v>
                </c:pt>
                <c:pt idx="274">
                  <c:v>6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C$2:$C$276</c:f>
              <c:numCache>
                <c:formatCode>#,##0</c:formatCode>
                <c:ptCount val="2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D$2:$D$276</c:f>
              <c:numCache>
                <c:formatCode>#,##0</c:formatCode>
                <c:ptCount val="2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  <c:pt idx="272">
                  <c:v>4</c:v>
                </c:pt>
                <c:pt idx="273">
                  <c:v>3</c:v>
                </c:pt>
                <c:pt idx="27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B$2:$B$276</c:f>
              <c:numCache>
                <c:formatCode>#,##0</c:formatCode>
                <c:ptCount val="27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>
                  <c:v>3</c:v>
                </c:pt>
                <c:pt idx="206">
                  <c:v>22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  <c:pt idx="272">
                  <c:v>62</c:v>
                </c:pt>
                <c:pt idx="273">
                  <c:v>62</c:v>
                </c:pt>
                <c:pt idx="274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C$2:$C$276</c:f>
              <c:numCache>
                <c:formatCode>#,##0</c:formatCode>
                <c:ptCount val="2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D$2:$D$276</c:f>
              <c:numCache>
                <c:formatCode>#,##0</c:formatCode>
                <c:ptCount val="27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8</c:v>
                </c:pt>
                <c:pt idx="133">
                  <c:v>1174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19</c:v>
                </c:pt>
                <c:pt idx="251">
                  <c:v>425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8</c:v>
                </c:pt>
                <c:pt idx="260">
                  <c:v>249</c:v>
                </c:pt>
                <c:pt idx="261">
                  <c:v>218</c:v>
                </c:pt>
                <c:pt idx="262">
                  <c:v>191</c:v>
                </c:pt>
                <c:pt idx="263">
                  <c:v>189</c:v>
                </c:pt>
                <c:pt idx="264">
                  <c:v>187</c:v>
                </c:pt>
                <c:pt idx="265">
                  <c:v>182</c:v>
                </c:pt>
                <c:pt idx="266">
                  <c:v>162</c:v>
                </c:pt>
                <c:pt idx="267">
                  <c:v>156</c:v>
                </c:pt>
                <c:pt idx="268">
                  <c:v>144</c:v>
                </c:pt>
                <c:pt idx="269">
                  <c:v>128</c:v>
                </c:pt>
                <c:pt idx="270">
                  <c:v>111</c:v>
                </c:pt>
                <c:pt idx="271">
                  <c:v>113</c:v>
                </c:pt>
                <c:pt idx="272">
                  <c:v>117</c:v>
                </c:pt>
                <c:pt idx="273">
                  <c:v>101</c:v>
                </c:pt>
                <c:pt idx="274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B$2:$B$276</c:f>
              <c:numCache>
                <c:formatCode>#,##0</c:formatCode>
                <c:ptCount val="27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84</c:v>
                </c:pt>
                <c:pt idx="206">
                  <c:v>958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  <c:pt idx="272">
                  <c:v>1640</c:v>
                </c:pt>
                <c:pt idx="273">
                  <c:v>1645</c:v>
                </c:pt>
                <c:pt idx="274">
                  <c:v>1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6</c:f>
              <c:numCache>
                <c:formatCode>m/d/yyyy</c:formatCode>
                <c:ptCount val="2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</c:numCache>
            </c:numRef>
          </c:cat>
          <c:val>
            <c:numRef>
              <c:f>Sheet1!$C$2:$C$276</c:f>
              <c:numCache>
                <c:formatCode>#,##0</c:formatCode>
                <c:ptCount val="2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3.06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4580792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29624014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8100666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10800082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76411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1766876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66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691</cp:revision>
  <dcterms:created xsi:type="dcterms:W3CDTF">2020-08-08T14:25:07Z</dcterms:created>
  <dcterms:modified xsi:type="dcterms:W3CDTF">2021-06-03T03:14:42Z</dcterms:modified>
</cp:coreProperties>
</file>